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61" r:id="rId2"/>
    <p:sldId id="266" r:id="rId3"/>
    <p:sldId id="272" r:id="rId4"/>
    <p:sldId id="267" r:id="rId5"/>
    <p:sldId id="268" r:id="rId6"/>
    <p:sldId id="269" r:id="rId7"/>
    <p:sldId id="270" r:id="rId8"/>
    <p:sldId id="271" r:id="rId9"/>
  </p:sldIdLst>
  <p:sldSz cx="9144000" cy="6858000" type="screen4x3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>
        <p:scale>
          <a:sx n="65" d="100"/>
          <a:sy n="65" d="100"/>
        </p:scale>
        <p:origin x="-389" y="221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4/06/2018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F394E3-C2BE-4C89-A7FD-4FE5DE1A5E77}" type="datetimeFigureOut">
              <a:rPr lang="sv-SE" smtClean="0"/>
              <a:t>2018-06-04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BF652-AAB1-4256-B7FE-D6E34478D10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42038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10EB9C33-90E9-4082-8460-550F57321DAD}" type="datetime1">
              <a:rPr lang="sv-SE" smtClean="0"/>
              <a:t>2018-06-04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smtClean="0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117E502F-4722-4697-B766-B72468C83AE0}" type="datetime1">
              <a:rPr lang="sv-SE" smtClean="0"/>
              <a:t>2018-06-04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AD7395D0-2D7B-4EB4-8C29-575160A048C7}" type="datetime1">
              <a:rPr lang="sv-SE" smtClean="0"/>
              <a:t>2018-06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 smtClean="0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657EEAA2-C178-40FC-A69B-D5FBD820AA4A}" type="datetime1">
              <a:rPr lang="sv-SE" smtClean="0"/>
              <a:t>2018-06-04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13F0F477-2699-4C2B-AB97-E301E7EF1E55}" type="datetime1">
              <a:rPr lang="sv-SE" smtClean="0"/>
              <a:t>2018-06-04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B19BA93-564D-4FE2-9CE3-7051EE71559E}" type="datetime1">
              <a:rPr lang="sv-SE" smtClean="0"/>
              <a:t>2018-06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 smtClean="0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 smtClean="0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9411CAF2-4248-44EB-807B-1110AC351D72}" type="datetime1">
              <a:rPr lang="sv-SE" smtClean="0"/>
              <a:t>2018-06-04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F7302BF1-B40D-477C-ABED-C6BF39406FB6}" type="datetime1">
              <a:rPr lang="sv-SE" smtClean="0"/>
              <a:t>2018-06-04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86A7FB6A-560D-4AA5-9BDD-0370B273AE3D}" type="datetime1">
              <a:rPr lang="sv-SE" smtClean="0"/>
              <a:t>2018-06-04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71306" y="1027069"/>
            <a:ext cx="6984337" cy="1043684"/>
          </a:xfrm>
        </p:spPr>
        <p:txBody>
          <a:bodyPr/>
          <a:lstStyle/>
          <a:p>
            <a:r>
              <a:rPr lang="sv-SE" dirty="0" smtClean="0"/>
              <a:t>Kursadministration-</a:t>
            </a:r>
            <a:br>
              <a:rPr lang="sv-SE" dirty="0" smtClean="0"/>
            </a:br>
            <a:r>
              <a:rPr lang="sv-SE" dirty="0" smtClean="0"/>
              <a:t>Grupper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82263" y="2665492"/>
            <a:ext cx="2022525" cy="936104"/>
          </a:xfrm>
        </p:spPr>
        <p:txBody>
          <a:bodyPr>
            <a:normAutofit/>
          </a:bodyPr>
          <a:lstStyle/>
          <a:p>
            <a:r>
              <a:rPr lang="sv-SE" dirty="0" smtClean="0"/>
              <a:t>Version 1</a:t>
            </a:r>
          </a:p>
          <a:p>
            <a:r>
              <a:rPr lang="sv-SE" sz="1800" i="1" dirty="0" smtClean="0"/>
              <a:t>180531</a:t>
            </a:r>
            <a:endParaRPr lang="sv-SE" sz="1800" i="1" dirty="0"/>
          </a:p>
        </p:txBody>
      </p:sp>
      <p:sp>
        <p:nvSpPr>
          <p:cNvPr id="6" name="Underrubrik 2"/>
          <p:cNvSpPr txBox="1">
            <a:spLocks/>
          </p:cNvSpPr>
          <p:nvPr/>
        </p:nvSpPr>
        <p:spPr bwMode="gray">
          <a:xfrm>
            <a:off x="3856249" y="2654062"/>
            <a:ext cx="4507463" cy="93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600" dirty="0" smtClean="0"/>
          </a:p>
        </p:txBody>
      </p:sp>
      <p:sp>
        <p:nvSpPr>
          <p:cNvPr id="7" name="Underrubrik 2"/>
          <p:cNvSpPr txBox="1">
            <a:spLocks/>
          </p:cNvSpPr>
          <p:nvPr/>
        </p:nvSpPr>
        <p:spPr bwMode="gray">
          <a:xfrm>
            <a:off x="1602516" y="2051709"/>
            <a:ext cx="4507463" cy="326882"/>
          </a:xfrm>
          <a:prstGeom prst="rect">
            <a:avLst/>
          </a:prstGeom>
        </p:spPr>
        <p:txBody>
          <a:bodyPr vert="horz" lIns="0" tIns="0" rIns="0" bIns="0" rtlCol="0">
            <a:normAutofit fontScale="25000" lnSpcReduction="20000"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0"/>
              </a:spcBef>
              <a:buFont typeface="Arial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6400" dirty="0" smtClean="0"/>
              <a:t>Skapa grupper</a:t>
            </a:r>
          </a:p>
          <a:p>
            <a:endParaRPr lang="sv-SE" sz="1600" dirty="0" smtClean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320" y="1590359"/>
            <a:ext cx="6992938" cy="4078286"/>
          </a:xfrm>
        </p:spPr>
        <p:txBody>
          <a:bodyPr/>
          <a:lstStyle/>
          <a:p>
            <a:r>
              <a:rPr lang="sv-SE" dirty="0" smtClean="0"/>
              <a:t>Grupper kan du använda för att rapportera resultat, göra resultatuppföljning eller anmäla till tentamen för en specifikt vald gruppering. </a:t>
            </a:r>
            <a:endParaRPr lang="sv-SE" dirty="0" smtClean="0"/>
          </a:p>
          <a:p>
            <a:r>
              <a:rPr lang="sv-SE" i="1" dirty="0" smtClean="0"/>
              <a:t>Du väljer då att filtrera på grupp:</a:t>
            </a:r>
          </a:p>
          <a:p>
            <a:endParaRPr lang="sv-SE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2</a:t>
            </a:fld>
            <a:endParaRPr lang="sv-SE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675" y="3239111"/>
            <a:ext cx="7994650" cy="1317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862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320" y="1590359"/>
            <a:ext cx="6992938" cy="4078286"/>
          </a:xfrm>
        </p:spPr>
        <p:txBody>
          <a:bodyPr/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ök upp din kurs och klicka på </a:t>
            </a:r>
            <a:r>
              <a:rPr lang="sv-SE" i="1" dirty="0" smtClean="0"/>
              <a:t>”Grupper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Klicka</a:t>
            </a:r>
            <a:r>
              <a:rPr lang="sv-SE" i="1" dirty="0" smtClean="0"/>
              <a:t> ”Ny grupp”</a:t>
            </a:r>
          </a:p>
          <a:p>
            <a:endParaRPr lang="sv-SE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3</a:t>
            </a:fld>
            <a:endParaRPr lang="sv-SE"/>
          </a:p>
        </p:txBody>
      </p:sp>
      <p:pic>
        <p:nvPicPr>
          <p:cNvPr id="8194" name="Picture 2" descr="C:\Users\suscar\AppData\Local\Temp\SnagitTemp\Snag_66d9e14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320" y="1432805"/>
            <a:ext cx="7696200" cy="1538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102645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3460" y="1585381"/>
            <a:ext cx="7549198" cy="4078286"/>
          </a:xfrm>
        </p:spPr>
        <p:txBody>
          <a:bodyPr/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Namnge din grupp och klicka på </a:t>
            </a:r>
            <a:r>
              <a:rPr lang="sv-SE" sz="1600" i="1" dirty="0" smtClean="0"/>
              <a:t>”Spara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Nu kan du börja arbeta med din grupp som du hittar under </a:t>
            </a:r>
            <a:r>
              <a:rPr lang="sv-SE" sz="1600" i="1" dirty="0" smtClean="0"/>
              <a:t>”Grupper”</a:t>
            </a:r>
            <a:endParaRPr lang="sv-SE" sz="16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4</a:t>
            </a:fld>
            <a:endParaRPr lang="sv-SE"/>
          </a:p>
        </p:txBody>
      </p:sp>
      <p:pic>
        <p:nvPicPr>
          <p:cNvPr id="9219" name="Picture 3" descr="C:\Users\suscar\AppData\Local\Temp\SnagitTemp\Snag_6720db7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60" y="1198169"/>
            <a:ext cx="7673340" cy="1672742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C:\Users\suscar\AppData\Local\Temp\SnagitTemp\Snag_676247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460" y="4074693"/>
            <a:ext cx="7673340" cy="158897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18670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1080" y="1605599"/>
            <a:ext cx="6935788" cy="4078286"/>
          </a:xfrm>
        </p:spPr>
        <p:txBody>
          <a:bodyPr>
            <a:normAutofit/>
          </a:bodyPr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 smtClean="0"/>
              <a:t>Du letar upp kurstillfällen i övre rulli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 smtClean="0"/>
              <a:t>Markera de studenter som ska ingå i gruppen och för över med hjälp av pi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400" dirty="0" smtClean="0"/>
              <a:t>Spara</a:t>
            </a:r>
            <a:endParaRPr lang="sv-SE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5</a:t>
            </a:fld>
            <a:endParaRPr lang="sv-SE"/>
          </a:p>
        </p:txBody>
      </p:sp>
      <p:pic>
        <p:nvPicPr>
          <p:cNvPr id="10243" name="Picture 3" descr="C:\Users\suscar\AppData\Local\Temp\SnagitTemp\Snag_67964c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" y="1132142"/>
            <a:ext cx="7376160" cy="3389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74011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6</a:t>
            </a:fld>
            <a:endParaRPr lang="sv-SE"/>
          </a:p>
        </p:txBody>
      </p:sp>
      <p:pic>
        <p:nvPicPr>
          <p:cNvPr id="11266" name="Picture 2" descr="C:\Users\suscar\AppData\Local\Temp\SnagitTemp\Snag_67d72b1.pn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7270" y="1322844"/>
            <a:ext cx="7181850" cy="135195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043940" y="3147060"/>
            <a:ext cx="71170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Du kan välja att importera deltagarna från </a:t>
            </a:r>
            <a:r>
              <a:rPr lang="sv-SE" dirty="0" err="1" smtClean="0"/>
              <a:t>t.ex</a:t>
            </a:r>
            <a:r>
              <a:rPr lang="sv-SE" dirty="0" smtClean="0"/>
              <a:t> en </a:t>
            </a:r>
            <a:r>
              <a:rPr lang="sv-SE" dirty="0" err="1" smtClean="0"/>
              <a:t>excelfil</a:t>
            </a:r>
            <a:r>
              <a:rPr lang="sv-SE" dirty="0" smtClean="0"/>
              <a:t>, eller klistra in personnummer.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26764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28700" y="1537019"/>
            <a:ext cx="6935788" cy="4078286"/>
          </a:xfrm>
        </p:spPr>
        <p:txBody>
          <a:bodyPr/>
          <a:lstStyle/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r>
              <a:rPr lang="sv-SE" sz="1600" dirty="0" smtClean="0"/>
              <a:t>Här framgår i vilka olika format personnummer kan anges</a:t>
            </a:r>
          </a:p>
          <a:p>
            <a:r>
              <a:rPr lang="sv-SE" sz="1600" dirty="0" smtClean="0"/>
              <a:t>Klistra in personnummer och klicka </a:t>
            </a:r>
            <a:r>
              <a:rPr lang="sv-SE" sz="1600" i="1" dirty="0" smtClean="0"/>
              <a:t>”Nästa”	</a:t>
            </a:r>
          </a:p>
          <a:p>
            <a:endParaRPr lang="sv-SE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7</a:t>
            </a:fld>
            <a:endParaRPr lang="sv-SE"/>
          </a:p>
        </p:txBody>
      </p:sp>
      <p:pic>
        <p:nvPicPr>
          <p:cNvPr id="12291" name="Picture 3" descr="C:\Users\suscar\AppData\Local\Temp\SnagitTemp\Snag_6812128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940" y="1275906"/>
            <a:ext cx="7444740" cy="3376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4145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1</a:t>
            </a:r>
            <a:r>
              <a:rPr lang="sv-SE" dirty="0" smtClean="0"/>
              <a:t>. Grupper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0600" y="1643699"/>
            <a:ext cx="6935788" cy="4078286"/>
          </a:xfrm>
        </p:spPr>
        <p:txBody>
          <a:bodyPr/>
          <a:lstStyle/>
          <a:p>
            <a:r>
              <a:rPr lang="sv-SE" dirty="0" smtClean="0"/>
              <a:t>’</a:t>
            </a:r>
          </a:p>
          <a:p>
            <a:endParaRPr lang="sv-SE" dirty="0"/>
          </a:p>
          <a:p>
            <a:endParaRPr lang="sv-SE" dirty="0" smtClean="0"/>
          </a:p>
          <a:p>
            <a:endParaRPr lang="sv-SE" dirty="0"/>
          </a:p>
          <a:p>
            <a:endParaRPr lang="sv-S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Kontrollera import – klicka </a:t>
            </a:r>
            <a:r>
              <a:rPr lang="sv-SE" sz="1600" i="1" dirty="0" smtClean="0"/>
              <a:t>”Nästa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Förhandsgranska – klicka </a:t>
            </a:r>
            <a:r>
              <a:rPr lang="sv-SE" sz="1600" i="1" dirty="0" smtClean="0"/>
              <a:t>”Bekräfta”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 smtClean="0"/>
              <a:t>Gruppen är nu kopplad till kursen och återfinns i rapporteringsvyn under </a:t>
            </a:r>
            <a:r>
              <a:rPr lang="sv-SE" sz="1600" i="1" dirty="0" smtClean="0"/>
              <a:t>”Grupper”                     </a:t>
            </a:r>
            <a:endParaRPr lang="sv-SE" sz="16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sv-SE" smtClean="0"/>
              <a:pPr/>
              <a:t>8</a:t>
            </a:fld>
            <a:endParaRPr lang="sv-SE"/>
          </a:p>
        </p:txBody>
      </p:sp>
      <p:pic>
        <p:nvPicPr>
          <p:cNvPr id="13314" name="Picture 2" descr="C:\Users\suscar\AppData\Local\Temp\SnagitTemp\Snag_687ba4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0600" y="1303997"/>
            <a:ext cx="7635240" cy="19421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5100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7</TotalTime>
  <Words>186</Words>
  <Application>Microsoft Office PowerPoint</Application>
  <PresentationFormat>Bildspel på skärmen (4:3)</PresentationFormat>
  <Paragraphs>65</Paragraphs>
  <Slides>8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0" baseType="lpstr">
      <vt:lpstr>Template_KTH_with colours and grafs</vt:lpstr>
      <vt:lpstr>think-cell Slide</vt:lpstr>
      <vt:lpstr>Kursadministration- Grupper</vt:lpstr>
      <vt:lpstr>1. Grupper</vt:lpstr>
      <vt:lpstr>1. Grupper</vt:lpstr>
      <vt:lpstr>1. Grupper</vt:lpstr>
      <vt:lpstr>1. Grupper</vt:lpstr>
      <vt:lpstr>1. Grupper</vt:lpstr>
      <vt:lpstr>1. Grupper</vt:lpstr>
      <vt:lpstr>1. Grupp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Annika Hansson</dc:creator>
  <cp:lastModifiedBy>Victor Forsberg</cp:lastModifiedBy>
  <cp:revision>33</cp:revision>
  <cp:lastPrinted>2013-05-27T09:10:21Z</cp:lastPrinted>
  <dcterms:created xsi:type="dcterms:W3CDTF">2014-01-30T09:56:50Z</dcterms:created>
  <dcterms:modified xsi:type="dcterms:W3CDTF">2018-06-04T07:23:44Z</dcterms:modified>
</cp:coreProperties>
</file>